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7" r:id="rId2"/>
  </p:sldIdLst>
  <p:sldSz cx="7556500" cy="10693400"/>
  <p:notesSz cx="6858000" cy="9144000"/>
  <p:embeddedFontLst>
    <p:embeddedFont>
      <p:font typeface="Cabin" pitchFamily="2" charset="0"/>
      <p:regular r:id="rId3"/>
      <p:bold r:id="rId4"/>
      <p:italic r:id="rId5"/>
      <p:boldItalic r:id="rId6"/>
    </p:embeddedFon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Lilita One" panose="02000000000000000000" pitchFamily="2" charset="0"/>
      <p:regular r:id="rId1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7EF"/>
    <a:srgbClr val="FFEA97"/>
    <a:srgbClr val="FFFCED"/>
    <a:srgbClr val="FFF8E2"/>
    <a:srgbClr val="4D7389"/>
    <a:srgbClr val="FFFAF2"/>
    <a:srgbClr val="3B9F8D"/>
    <a:srgbClr val="991C1D"/>
    <a:srgbClr val="8F3B00"/>
    <a:srgbClr val="754A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70" autoAdjust="0"/>
    <p:restoredTop sz="94622" autoAdjust="0"/>
  </p:normalViewPr>
  <p:slideViewPr>
    <p:cSldViewPr>
      <p:cViewPr>
        <p:scale>
          <a:sx n="75" d="100"/>
          <a:sy n="75" d="100"/>
        </p:scale>
        <p:origin x="2418" y="-48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font" Target="fonts/font9.fntdata"/><Relationship Id="rId5" Type="http://schemas.openxmlformats.org/officeDocument/2006/relationships/font" Target="fonts/font3.fntdata"/><Relationship Id="rId15" Type="http://schemas.openxmlformats.org/officeDocument/2006/relationships/tableStyles" Target="tableStyles.xml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8" userDrawn="1">
          <p15:clr>
            <a:srgbClr val="FBAE40"/>
          </p15:clr>
        </p15:guide>
        <p15:guide id="2" pos="23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8" userDrawn="1">
          <p15:clr>
            <a:srgbClr val="F26B43"/>
          </p15:clr>
        </p15:guide>
        <p15:guide id="2" pos="23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7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roup 12">
            <a:extLst>
              <a:ext uri="{FF2B5EF4-FFF2-40B4-BE49-F238E27FC236}">
                <a16:creationId xmlns:a16="http://schemas.microsoft.com/office/drawing/2014/main" id="{F4EF52E8-AE8D-F6DC-1A21-6C73B1D841B2}"/>
              </a:ext>
            </a:extLst>
          </p:cNvPr>
          <p:cNvGrpSpPr/>
          <p:nvPr/>
        </p:nvGrpSpPr>
        <p:grpSpPr>
          <a:xfrm>
            <a:off x="-641650" y="0"/>
            <a:ext cx="8553406" cy="10882673"/>
            <a:chOff x="-641650" y="0"/>
            <a:chExt cx="8553406" cy="10882673"/>
          </a:xfrm>
        </p:grpSpPr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5C62FFF7-8688-E0C3-9F30-9626BCE94811}"/>
                </a:ext>
              </a:extLst>
            </p:cNvPr>
            <p:cNvGrpSpPr/>
            <p:nvPr/>
          </p:nvGrpSpPr>
          <p:grpSpPr>
            <a:xfrm>
              <a:off x="-641650" y="0"/>
              <a:ext cx="8553406" cy="10882673"/>
              <a:chOff x="-641650" y="0"/>
              <a:chExt cx="8553406" cy="10882673"/>
            </a:xfrm>
          </p:grpSpPr>
          <p:sp>
            <p:nvSpPr>
              <p:cNvPr id="3" name="Freeform 3"/>
              <p:cNvSpPr/>
              <p:nvPr/>
            </p:nvSpPr>
            <p:spPr>
              <a:xfrm>
                <a:off x="5990690" y="3103430"/>
                <a:ext cx="1565809" cy="4276800"/>
              </a:xfrm>
              <a:custGeom>
                <a:avLst/>
                <a:gdLst/>
                <a:ahLst/>
                <a:cxnLst/>
                <a:rect l="l" t="t" r="r" b="b"/>
                <a:pathLst>
                  <a:path w="3805056" h="5702400">
                    <a:moveTo>
                      <a:pt x="0" y="0"/>
                    </a:moveTo>
                    <a:lnTo>
                      <a:pt x="3805056" y="0"/>
                    </a:lnTo>
                    <a:lnTo>
                      <a:pt x="3805056" y="5702400"/>
                    </a:lnTo>
                    <a:lnTo>
                      <a:pt x="0" y="5702400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3">
                  <a:alphaModFix amt="75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 l="-1" r="-82257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3B8E7503-9D88-408D-22E0-3892BA52CE2F}"/>
                  </a:ext>
                </a:extLst>
              </p:cNvPr>
              <p:cNvSpPr/>
              <p:nvPr/>
            </p:nvSpPr>
            <p:spPr>
              <a:xfrm rot="6654653">
                <a:off x="-1898271" y="4808194"/>
                <a:ext cx="3895619" cy="1382378"/>
              </a:xfrm>
              <a:custGeom>
                <a:avLst/>
                <a:gdLst>
                  <a:gd name="connsiteX0" fmla="*/ 0 w 3895619"/>
                  <a:gd name="connsiteY0" fmla="*/ 1382378 h 1382378"/>
                  <a:gd name="connsiteX1" fmla="*/ 0 w 3895619"/>
                  <a:gd name="connsiteY1" fmla="*/ 0 h 1382378"/>
                  <a:gd name="connsiteX2" fmla="*/ 3895619 w 3895619"/>
                  <a:gd name="connsiteY2" fmla="*/ 0 h 1382378"/>
                  <a:gd name="connsiteX3" fmla="*/ 912676 w 3895619"/>
                  <a:gd name="connsiteY3" fmla="*/ 1139724 h 1382378"/>
                  <a:gd name="connsiteX4" fmla="*/ 1005390 w 3895619"/>
                  <a:gd name="connsiteY4" fmla="*/ 1382378 h 13823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895619" h="1382378">
                    <a:moveTo>
                      <a:pt x="0" y="1382378"/>
                    </a:moveTo>
                    <a:lnTo>
                      <a:pt x="0" y="0"/>
                    </a:lnTo>
                    <a:lnTo>
                      <a:pt x="3895619" y="0"/>
                    </a:lnTo>
                    <a:lnTo>
                      <a:pt x="912676" y="1139724"/>
                    </a:lnTo>
                    <a:lnTo>
                      <a:pt x="1005390" y="1382378"/>
                    </a:lnTo>
                    <a:close/>
                  </a:path>
                </a:pathLst>
              </a:custGeom>
              <a:blipFill>
                <a:blip r:embed="rId5">
                  <a:alphaModFix amt="75000"/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 r="-4893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1B0493AC-57CF-6389-8850-5CC4B3F0F2FA}"/>
                  </a:ext>
                </a:extLst>
              </p:cNvPr>
              <p:cNvSpPr/>
              <p:nvPr/>
            </p:nvSpPr>
            <p:spPr>
              <a:xfrm rot="2609396">
                <a:off x="6502375" y="9191992"/>
                <a:ext cx="843227" cy="1690681"/>
              </a:xfrm>
              <a:custGeom>
                <a:avLst/>
                <a:gdLst>
                  <a:gd name="connsiteX0" fmla="*/ 0 w 843227"/>
                  <a:gd name="connsiteY0" fmla="*/ 0 h 1690681"/>
                  <a:gd name="connsiteX1" fmla="*/ 494998 w 843227"/>
                  <a:gd name="connsiteY1" fmla="*/ 0 h 1690681"/>
                  <a:gd name="connsiteX2" fmla="*/ 843227 w 843227"/>
                  <a:gd name="connsiteY2" fmla="*/ 367086 h 1690681"/>
                  <a:gd name="connsiteX3" fmla="*/ 843227 w 843227"/>
                  <a:gd name="connsiteY3" fmla="*/ 1690681 h 1690681"/>
                  <a:gd name="connsiteX4" fmla="*/ 0 w 843227"/>
                  <a:gd name="connsiteY4" fmla="*/ 1690681 h 1690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43227" h="1690681">
                    <a:moveTo>
                      <a:pt x="0" y="0"/>
                    </a:moveTo>
                    <a:lnTo>
                      <a:pt x="494998" y="0"/>
                    </a:lnTo>
                    <a:lnTo>
                      <a:pt x="843227" y="367086"/>
                    </a:lnTo>
                    <a:lnTo>
                      <a:pt x="843227" y="1690681"/>
                    </a:lnTo>
                    <a:lnTo>
                      <a:pt x="0" y="1690681"/>
                    </a:lnTo>
                    <a:close/>
                  </a:path>
                </a:pathLst>
              </a:custGeom>
              <a:blipFill>
                <a:blip r:embed="rId7">
                  <a:alphaModFix amt="75000"/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" name="Freeform 6"/>
              <p:cNvSpPr/>
              <p:nvPr/>
            </p:nvSpPr>
            <p:spPr>
              <a:xfrm flipH="1">
                <a:off x="-2" y="7622029"/>
                <a:ext cx="1913773" cy="3071372"/>
              </a:xfrm>
              <a:custGeom>
                <a:avLst/>
                <a:gdLst/>
                <a:ahLst/>
                <a:cxnLst/>
                <a:rect l="l" t="t" r="r" b="b"/>
                <a:pathLst>
                  <a:path w="4859159" h="5135175">
                    <a:moveTo>
                      <a:pt x="4859159" y="0"/>
                    </a:moveTo>
                    <a:lnTo>
                      <a:pt x="0" y="0"/>
                    </a:lnTo>
                    <a:lnTo>
                      <a:pt x="0" y="5135175"/>
                    </a:lnTo>
                    <a:lnTo>
                      <a:pt x="4859159" y="5135175"/>
                    </a:lnTo>
                    <a:lnTo>
                      <a:pt x="4859159" y="0"/>
                    </a:lnTo>
                    <a:close/>
                  </a:path>
                </a:pathLst>
              </a:custGeom>
              <a:blipFill>
                <a:blip r:embed="rId9">
                  <a:alphaModFix amt="75000"/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 r="-90428" b="-25396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1CE82F7-1EDB-BD94-2914-5147D2953F82}"/>
                  </a:ext>
                </a:extLst>
              </p:cNvPr>
              <p:cNvSpPr/>
              <p:nvPr/>
            </p:nvSpPr>
            <p:spPr>
              <a:xfrm rot="19867209">
                <a:off x="-355625" y="242237"/>
                <a:ext cx="2347959" cy="866267"/>
              </a:xfrm>
              <a:custGeom>
                <a:avLst/>
                <a:gdLst>
                  <a:gd name="connsiteX0" fmla="*/ 1902868 w 2347959"/>
                  <a:gd name="connsiteY0" fmla="*/ 0 h 866267"/>
                  <a:gd name="connsiteX1" fmla="*/ 2347959 w 2347959"/>
                  <a:gd name="connsiteY1" fmla="*/ 310945 h 866267"/>
                  <a:gd name="connsiteX2" fmla="*/ 2347959 w 2347959"/>
                  <a:gd name="connsiteY2" fmla="*/ 866267 h 866267"/>
                  <a:gd name="connsiteX3" fmla="*/ 0 w 2347959"/>
                  <a:gd name="connsiteY3" fmla="*/ 866267 h 866267"/>
                  <a:gd name="connsiteX4" fmla="*/ 477808 w 2347959"/>
                  <a:gd name="connsiteY4" fmla="*/ 0 h 86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47959" h="866267">
                    <a:moveTo>
                      <a:pt x="1902868" y="0"/>
                    </a:moveTo>
                    <a:lnTo>
                      <a:pt x="2347959" y="310945"/>
                    </a:lnTo>
                    <a:lnTo>
                      <a:pt x="2347959" y="866267"/>
                    </a:lnTo>
                    <a:lnTo>
                      <a:pt x="0" y="866267"/>
                    </a:lnTo>
                    <a:lnTo>
                      <a:pt x="477808" y="0"/>
                    </a:lnTo>
                    <a:close/>
                  </a:path>
                </a:pathLst>
              </a:custGeom>
              <a:blipFill>
                <a:blip r:embed="rId11">
                  <a:alphaModFix amt="75000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l="-26658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4B712518-868D-7EF8-0545-B83EB954E575}"/>
                  </a:ext>
                </a:extLst>
              </p:cNvPr>
              <p:cNvSpPr/>
              <p:nvPr/>
            </p:nvSpPr>
            <p:spPr>
              <a:xfrm rot="1733999" flipH="1">
                <a:off x="5568158" y="231089"/>
                <a:ext cx="2343598" cy="866267"/>
              </a:xfrm>
              <a:custGeom>
                <a:avLst/>
                <a:gdLst>
                  <a:gd name="connsiteX0" fmla="*/ 1893385 w 2343598"/>
                  <a:gd name="connsiteY0" fmla="*/ 0 h 866267"/>
                  <a:gd name="connsiteX1" fmla="*/ 478205 w 2343598"/>
                  <a:gd name="connsiteY1" fmla="*/ 0 h 866267"/>
                  <a:gd name="connsiteX2" fmla="*/ 0 w 2343598"/>
                  <a:gd name="connsiteY2" fmla="*/ 866267 h 866267"/>
                  <a:gd name="connsiteX3" fmla="*/ 2343598 w 2343598"/>
                  <a:gd name="connsiteY3" fmla="*/ 866267 h 866267"/>
                  <a:gd name="connsiteX4" fmla="*/ 2343598 w 2343598"/>
                  <a:gd name="connsiteY4" fmla="*/ 314526 h 8662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343598" h="866267">
                    <a:moveTo>
                      <a:pt x="1893385" y="0"/>
                    </a:moveTo>
                    <a:lnTo>
                      <a:pt x="478205" y="0"/>
                    </a:lnTo>
                    <a:lnTo>
                      <a:pt x="0" y="866267"/>
                    </a:lnTo>
                    <a:lnTo>
                      <a:pt x="2343598" y="866267"/>
                    </a:lnTo>
                    <a:lnTo>
                      <a:pt x="2343598" y="314526"/>
                    </a:lnTo>
                    <a:close/>
                  </a:path>
                </a:pathLst>
              </a:custGeom>
              <a:blipFill>
                <a:blip r:embed="rId11">
                  <a:alphaModFix amt="75000"/>
                  <a:extLst>
                    <a:ext uri="{96DAC541-7B7A-43D3-8B79-37D633B846F1}">
                      <asvg:svgBlip xmlns:asvg="http://schemas.microsoft.com/office/drawing/2016/SVG/main" r:embed="rId12"/>
                    </a:ext>
                  </a:extLst>
                </a:blip>
                <a:stretch>
                  <a:fillRect l="-26554"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/>
              </a:p>
            </p:txBody>
          </p:sp>
          <p:sp>
            <p:nvSpPr>
              <p:cNvPr id="25" name="Freeform 25"/>
              <p:cNvSpPr/>
              <p:nvPr/>
            </p:nvSpPr>
            <p:spPr>
              <a:xfrm>
                <a:off x="1789763" y="0"/>
                <a:ext cx="3951040" cy="605920"/>
              </a:xfrm>
              <a:custGeom>
                <a:avLst/>
                <a:gdLst/>
                <a:ahLst/>
                <a:cxnLst/>
                <a:rect l="l" t="t" r="r" b="b"/>
                <a:pathLst>
                  <a:path w="3951040" h="696371">
                    <a:moveTo>
                      <a:pt x="0" y="0"/>
                    </a:moveTo>
                    <a:lnTo>
                      <a:pt x="3951040" y="0"/>
                    </a:lnTo>
                    <a:lnTo>
                      <a:pt x="3951040" y="696371"/>
                    </a:lnTo>
                    <a:lnTo>
                      <a:pt x="0" y="696371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3">
                  <a:extLst>
                    <a:ext uri="{96DAC541-7B7A-43D3-8B79-37D633B846F1}">
                      <asvg:svgBlip xmlns:asvg="http://schemas.microsoft.com/office/drawing/2016/SVG/main" r:embed="rId14"/>
                    </a:ext>
                  </a:extLst>
                </a:blip>
                <a:stretch>
                  <a:fillRect t="-14928"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F6CE736C-FBA0-8941-CE77-BC3C609E0A0D}"/>
                </a:ext>
              </a:extLst>
            </p:cNvPr>
            <p:cNvGrpSpPr/>
            <p:nvPr/>
          </p:nvGrpSpPr>
          <p:grpSpPr>
            <a:xfrm>
              <a:off x="454107" y="2349068"/>
              <a:ext cx="6651786" cy="7586932"/>
              <a:chOff x="454107" y="2349068"/>
              <a:chExt cx="6651786" cy="7586932"/>
            </a:xfrm>
          </p:grpSpPr>
          <p:sp>
            <p:nvSpPr>
              <p:cNvPr id="10" name="Freeform 10"/>
              <p:cNvSpPr/>
              <p:nvPr/>
            </p:nvSpPr>
            <p:spPr>
              <a:xfrm>
                <a:off x="454107" y="2349068"/>
                <a:ext cx="6651786" cy="7586932"/>
              </a:xfrm>
              <a:custGeom>
                <a:avLst/>
                <a:gdLst/>
                <a:ahLst/>
                <a:cxnLst/>
                <a:rect l="l" t="t" r="r" b="b"/>
                <a:pathLst>
                  <a:path w="2383850" h="2718985">
                    <a:moveTo>
                      <a:pt x="0" y="0"/>
                    </a:moveTo>
                    <a:lnTo>
                      <a:pt x="2383850" y="0"/>
                    </a:lnTo>
                    <a:lnTo>
                      <a:pt x="2383850" y="2718985"/>
                    </a:lnTo>
                    <a:lnTo>
                      <a:pt x="0" y="2718985"/>
                    </a:lnTo>
                    <a:close/>
                  </a:path>
                </a:pathLst>
              </a:custGeom>
              <a:solidFill>
                <a:srgbClr val="FFFFFF"/>
              </a:solidFill>
              <a:ln w="19050" cap="sq">
                <a:solidFill>
                  <a:srgbClr val="F2755C"/>
                </a:solidFill>
                <a:prstDash val="solid"/>
                <a:miter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2" name="AutoShape 12"/>
              <p:cNvSpPr/>
              <p:nvPr/>
            </p:nvSpPr>
            <p:spPr>
              <a:xfrm>
                <a:off x="454368" y="7822502"/>
                <a:ext cx="6637320" cy="0"/>
              </a:xfrm>
              <a:prstGeom prst="line">
                <a:avLst/>
              </a:prstGeom>
              <a:ln w="19050" cap="rnd">
                <a:solidFill>
                  <a:srgbClr val="F2755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454368" y="2358593"/>
                <a:ext cx="6637320" cy="0"/>
              </a:xfrm>
              <a:prstGeom prst="line">
                <a:avLst/>
              </a:prstGeom>
              <a:ln w="25400" cap="rnd">
                <a:solidFill>
                  <a:srgbClr val="F2755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9" name="AutoShape 29"/>
              <p:cNvSpPr/>
              <p:nvPr/>
            </p:nvSpPr>
            <p:spPr>
              <a:xfrm>
                <a:off x="3775368" y="2351393"/>
                <a:ext cx="0" cy="2804794"/>
              </a:xfrm>
              <a:prstGeom prst="line">
                <a:avLst/>
              </a:prstGeom>
              <a:ln w="25400" cap="rnd">
                <a:solidFill>
                  <a:srgbClr val="F2755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454368" y="2879742"/>
                <a:ext cx="6637320" cy="0"/>
              </a:xfrm>
              <a:prstGeom prst="line">
                <a:avLst/>
              </a:prstGeom>
              <a:ln w="25400" cap="rnd">
                <a:solidFill>
                  <a:srgbClr val="F2755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1" name="AutoShape 31"/>
              <p:cNvSpPr/>
              <p:nvPr/>
            </p:nvSpPr>
            <p:spPr>
              <a:xfrm>
                <a:off x="454368" y="5146549"/>
                <a:ext cx="6637320" cy="0"/>
              </a:xfrm>
              <a:prstGeom prst="line">
                <a:avLst/>
              </a:prstGeom>
              <a:ln w="25400" cap="rnd">
                <a:solidFill>
                  <a:srgbClr val="F2755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32" name="AutoShape 32"/>
              <p:cNvSpPr/>
              <p:nvPr/>
            </p:nvSpPr>
            <p:spPr>
              <a:xfrm>
                <a:off x="454368" y="5665372"/>
                <a:ext cx="6637320" cy="0"/>
              </a:xfrm>
              <a:prstGeom prst="line">
                <a:avLst/>
              </a:prstGeom>
              <a:ln w="25400" cap="rnd">
                <a:solidFill>
                  <a:srgbClr val="F2755C"/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9F939A69-C477-3B9C-DD38-B844A9ABA694}"/>
                </a:ext>
              </a:extLst>
            </p:cNvPr>
            <p:cNvGrpSpPr/>
            <p:nvPr/>
          </p:nvGrpSpPr>
          <p:grpSpPr>
            <a:xfrm>
              <a:off x="722783" y="7977570"/>
              <a:ext cx="6196574" cy="1755759"/>
              <a:chOff x="722783" y="7977570"/>
              <a:chExt cx="6196574" cy="1755759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D6921758-09A5-5EAD-AF2A-C4D9DAE2CF81}"/>
                  </a:ext>
                </a:extLst>
              </p:cNvPr>
              <p:cNvGrpSpPr/>
              <p:nvPr/>
            </p:nvGrpSpPr>
            <p:grpSpPr>
              <a:xfrm>
                <a:off x="3867802" y="8034698"/>
                <a:ext cx="1790092" cy="1698631"/>
                <a:chOff x="3867802" y="8034698"/>
                <a:chExt cx="1790092" cy="1698631"/>
              </a:xfrm>
            </p:grpSpPr>
            <p:sp>
              <p:nvSpPr>
                <p:cNvPr id="15" name="Freeform 15"/>
                <p:cNvSpPr/>
                <p:nvPr/>
              </p:nvSpPr>
              <p:spPr>
                <a:xfrm>
                  <a:off x="3867802" y="8739632"/>
                  <a:ext cx="288764" cy="288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5019" h="385019">
                      <a:moveTo>
                        <a:pt x="0" y="0"/>
                      </a:moveTo>
                      <a:lnTo>
                        <a:pt x="385019" y="0"/>
                      </a:lnTo>
                      <a:lnTo>
                        <a:pt x="385019" y="385018"/>
                      </a:lnTo>
                      <a:lnTo>
                        <a:pt x="0" y="38501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15">
                    <a:extLs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a:blipFill>
                <a:ln w="9525" cap="sq">
                  <a:solidFill>
                    <a:srgbClr val="F2755C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6" name="TextBox 16"/>
                <p:cNvSpPr txBox="1"/>
                <p:nvPr/>
              </p:nvSpPr>
              <p:spPr>
                <a:xfrm>
                  <a:off x="4307988" y="8815726"/>
                  <a:ext cx="1349906" cy="131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1E1E1E"/>
                      </a:solidFill>
                      <a:latin typeface="Cabin"/>
                    </a:rPr>
                    <a:t>3 - Somewhat Confident</a:t>
                  </a:r>
                </a:p>
              </p:txBody>
            </p:sp>
            <p:sp>
              <p:nvSpPr>
                <p:cNvPr id="17" name="Freeform 17"/>
                <p:cNvSpPr/>
                <p:nvPr/>
              </p:nvSpPr>
              <p:spPr>
                <a:xfrm>
                  <a:off x="3867802" y="8387165"/>
                  <a:ext cx="288764" cy="288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5019" h="385019">
                      <a:moveTo>
                        <a:pt x="0" y="0"/>
                      </a:moveTo>
                      <a:lnTo>
                        <a:pt x="385019" y="0"/>
                      </a:lnTo>
                      <a:lnTo>
                        <a:pt x="385019" y="385019"/>
                      </a:lnTo>
                      <a:lnTo>
                        <a:pt x="0" y="38501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15">
                    <a:extLs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a:blipFill>
                <a:ln w="9525" cap="sq">
                  <a:solidFill>
                    <a:srgbClr val="F2755C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18" name="TextBox 18"/>
                <p:cNvSpPr txBox="1"/>
                <p:nvPr/>
              </p:nvSpPr>
              <p:spPr>
                <a:xfrm>
                  <a:off x="4304461" y="8463259"/>
                  <a:ext cx="1153381" cy="131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1E1E1E"/>
                      </a:solidFill>
                      <a:latin typeface="Cabin"/>
                    </a:rPr>
                    <a:t>2 - Uncertain</a:t>
                  </a:r>
                </a:p>
              </p:txBody>
            </p:sp>
            <p:sp>
              <p:nvSpPr>
                <p:cNvPr id="19" name="Freeform 19"/>
                <p:cNvSpPr/>
                <p:nvPr/>
              </p:nvSpPr>
              <p:spPr>
                <a:xfrm>
                  <a:off x="3867802" y="8034698"/>
                  <a:ext cx="288764" cy="288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5019" h="385019">
                      <a:moveTo>
                        <a:pt x="0" y="0"/>
                      </a:moveTo>
                      <a:lnTo>
                        <a:pt x="385019" y="0"/>
                      </a:lnTo>
                      <a:lnTo>
                        <a:pt x="385019" y="385019"/>
                      </a:lnTo>
                      <a:lnTo>
                        <a:pt x="0" y="38501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15">
                    <a:extLs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a:blipFill>
                <a:ln w="9525" cap="sq">
                  <a:solidFill>
                    <a:srgbClr val="F2755C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0" name="TextBox 20"/>
                <p:cNvSpPr txBox="1"/>
                <p:nvPr/>
              </p:nvSpPr>
              <p:spPr>
                <a:xfrm>
                  <a:off x="4304461" y="8115690"/>
                  <a:ext cx="1353433" cy="131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094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1E1E1E"/>
                      </a:solidFill>
                      <a:latin typeface="Cabin"/>
                    </a:rPr>
                    <a:t>1 - Very Uncertain</a:t>
                  </a:r>
                </a:p>
              </p:txBody>
            </p:sp>
            <p:sp>
              <p:nvSpPr>
                <p:cNvPr id="21" name="Freeform 21"/>
                <p:cNvSpPr/>
                <p:nvPr/>
              </p:nvSpPr>
              <p:spPr>
                <a:xfrm>
                  <a:off x="3867802" y="9444565"/>
                  <a:ext cx="288764" cy="288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5019" h="385019">
                      <a:moveTo>
                        <a:pt x="0" y="0"/>
                      </a:moveTo>
                      <a:lnTo>
                        <a:pt x="385019" y="0"/>
                      </a:lnTo>
                      <a:lnTo>
                        <a:pt x="385019" y="385019"/>
                      </a:lnTo>
                      <a:lnTo>
                        <a:pt x="0" y="38501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15">
                    <a:extLs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a:blipFill>
                <a:ln w="9525" cap="sq">
                  <a:solidFill>
                    <a:srgbClr val="F2755C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2" name="TextBox 22"/>
                <p:cNvSpPr txBox="1"/>
                <p:nvPr/>
              </p:nvSpPr>
              <p:spPr>
                <a:xfrm>
                  <a:off x="4304461" y="9520659"/>
                  <a:ext cx="1153381" cy="131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1E1E1E"/>
                      </a:solidFill>
                      <a:latin typeface="Cabin"/>
                    </a:rPr>
                    <a:t>5 - Very Confident</a:t>
                  </a:r>
                </a:p>
              </p:txBody>
            </p:sp>
            <p:sp>
              <p:nvSpPr>
                <p:cNvPr id="23" name="Freeform 23"/>
                <p:cNvSpPr/>
                <p:nvPr/>
              </p:nvSpPr>
              <p:spPr>
                <a:xfrm>
                  <a:off x="3867802" y="9092098"/>
                  <a:ext cx="288764" cy="28876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5019" h="385019">
                      <a:moveTo>
                        <a:pt x="0" y="0"/>
                      </a:moveTo>
                      <a:lnTo>
                        <a:pt x="385019" y="0"/>
                      </a:lnTo>
                      <a:lnTo>
                        <a:pt x="385019" y="385019"/>
                      </a:lnTo>
                      <a:lnTo>
                        <a:pt x="0" y="38501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15">
                    <a:extLst>
                      <a:ext uri="{96DAC541-7B7A-43D3-8B79-37D633B846F1}">
                        <asvg:svgBlip xmlns:asvg="http://schemas.microsoft.com/office/drawing/2016/SVG/main" r:embed="rId16"/>
                      </a:ext>
                    </a:extLst>
                  </a:blip>
                  <a:stretch>
                    <a:fillRect/>
                  </a:stretch>
                </a:blipFill>
                <a:ln w="9525" cap="sq">
                  <a:solidFill>
                    <a:srgbClr val="F2755C"/>
                  </a:solidFill>
                  <a:prstDash val="solid"/>
                  <a:miter/>
                </a:ln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" name="TextBox 24"/>
                <p:cNvSpPr txBox="1"/>
                <p:nvPr/>
              </p:nvSpPr>
              <p:spPr>
                <a:xfrm>
                  <a:off x="4304461" y="9168192"/>
                  <a:ext cx="1036952" cy="131126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119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1E1E1E"/>
                      </a:solidFill>
                      <a:latin typeface="Cabin"/>
                    </a:rPr>
                    <a:t>4 - Confident</a:t>
                  </a:r>
                </a:p>
              </p:txBody>
            </p:sp>
          </p:grpSp>
          <p:sp>
            <p:nvSpPr>
              <p:cNvPr id="48" name="TextBox 48"/>
              <p:cNvSpPr txBox="1"/>
              <p:nvPr/>
            </p:nvSpPr>
            <p:spPr>
              <a:xfrm>
                <a:off x="722783" y="8040095"/>
                <a:ext cx="2783908" cy="2286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>
                  <a:lnSpc>
                    <a:spcPts val="1650"/>
                  </a:lnSpc>
                  <a:spcBef>
                    <a:spcPct val="0"/>
                  </a:spcBef>
                </a:pPr>
                <a:r>
                  <a:rPr lang="en-US" sz="1500" u="none" strike="noStrike" dirty="0">
                    <a:solidFill>
                      <a:srgbClr val="1E1E1E"/>
                    </a:solidFill>
                    <a:latin typeface="Lilita One"/>
                  </a:rPr>
                  <a:t>REFLECTION</a:t>
                </a:r>
              </a:p>
            </p:txBody>
          </p:sp>
          <p:sp>
            <p:nvSpPr>
              <p:cNvPr id="49" name="TextBox 49"/>
              <p:cNvSpPr txBox="1"/>
              <p:nvPr/>
            </p:nvSpPr>
            <p:spPr>
              <a:xfrm>
                <a:off x="722783" y="8402357"/>
                <a:ext cx="3043059" cy="508000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>
                  <a:lnSpc>
                    <a:spcPts val="1399"/>
                  </a:lnSpc>
                </a:pPr>
                <a:r>
                  <a:rPr lang="en-US" sz="999" dirty="0">
                    <a:solidFill>
                      <a:srgbClr val="1E1E1E"/>
                    </a:solidFill>
                    <a:latin typeface="Cabin"/>
                  </a:rPr>
                  <a:t>On a scale of 1 to 5, rate your confidence in your understanding and use of the Spanish language </a:t>
                </a:r>
              </a:p>
              <a:p>
                <a:pPr>
                  <a:lnSpc>
                    <a:spcPts val="1399"/>
                  </a:lnSpc>
                </a:pPr>
                <a:r>
                  <a:rPr lang="en-US" sz="999" dirty="0">
                    <a:solidFill>
                      <a:srgbClr val="1E1E1E"/>
                    </a:solidFill>
                    <a:latin typeface="Cabin"/>
                  </a:rPr>
                  <a:t>concepts covered today:</a:t>
                </a:r>
              </a:p>
            </p:txBody>
          </p:sp>
          <p:sp>
            <p:nvSpPr>
              <p:cNvPr id="50" name="Freeform 50"/>
              <p:cNvSpPr/>
              <p:nvPr/>
            </p:nvSpPr>
            <p:spPr>
              <a:xfrm>
                <a:off x="5740803" y="7977570"/>
                <a:ext cx="1178554" cy="1755759"/>
              </a:xfrm>
              <a:custGeom>
                <a:avLst/>
                <a:gdLst/>
                <a:ahLst/>
                <a:cxnLst/>
                <a:rect l="l" t="t" r="r" b="b"/>
                <a:pathLst>
                  <a:path w="1178554" h="1755759">
                    <a:moveTo>
                      <a:pt x="0" y="0"/>
                    </a:moveTo>
                    <a:lnTo>
                      <a:pt x="1178554" y="0"/>
                    </a:lnTo>
                    <a:lnTo>
                      <a:pt x="1178554" y="1755759"/>
                    </a:lnTo>
                    <a:lnTo>
                      <a:pt x="0" y="1755759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7">
                  <a:extLst>
                    <a:ext uri="{96DAC541-7B7A-43D3-8B79-37D633B846F1}">
                      <asvg:svgBlip xmlns:asvg="http://schemas.microsoft.com/office/drawing/2016/SVG/main" r:embed="rId18"/>
                    </a:ext>
                  </a:extLst>
                </a:blip>
                <a:stretch>
                  <a:fillRect/>
                </a:stretch>
              </a:blipFill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2FC4A43-B0A1-372F-A010-68D3C8C6C536}"/>
                </a:ext>
              </a:extLst>
            </p:cNvPr>
            <p:cNvGrpSpPr/>
            <p:nvPr/>
          </p:nvGrpSpPr>
          <p:grpSpPr>
            <a:xfrm>
              <a:off x="473470" y="5154091"/>
              <a:ext cx="6612503" cy="915737"/>
              <a:chOff x="473470" y="5154091"/>
              <a:chExt cx="6612503" cy="915737"/>
            </a:xfrm>
          </p:grpSpPr>
          <p:sp>
            <p:nvSpPr>
              <p:cNvPr id="37" name="Freeform 37"/>
              <p:cNvSpPr/>
              <p:nvPr/>
            </p:nvSpPr>
            <p:spPr>
              <a:xfrm>
                <a:off x="473470" y="5154091"/>
                <a:ext cx="6612503" cy="499774"/>
              </a:xfrm>
              <a:custGeom>
                <a:avLst/>
                <a:gdLst/>
                <a:ahLst/>
                <a:cxnLst/>
                <a:rect l="l" t="t" r="r" b="b"/>
                <a:pathLst>
                  <a:path w="2369772" h="179108">
                    <a:moveTo>
                      <a:pt x="0" y="0"/>
                    </a:moveTo>
                    <a:lnTo>
                      <a:pt x="2369772" y="0"/>
                    </a:lnTo>
                    <a:lnTo>
                      <a:pt x="2369772" y="179108"/>
                    </a:lnTo>
                    <a:lnTo>
                      <a:pt x="0" y="179108"/>
                    </a:lnTo>
                    <a:close/>
                  </a:path>
                </a:pathLst>
              </a:custGeom>
              <a:solidFill>
                <a:srgbClr val="FFF8DA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4" name="TextBox 44"/>
              <p:cNvSpPr txBox="1"/>
              <p:nvPr/>
            </p:nvSpPr>
            <p:spPr>
              <a:xfrm>
                <a:off x="1035120" y="5271819"/>
                <a:ext cx="5489202" cy="2643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u="none" strike="noStrike" dirty="0">
                    <a:solidFill>
                      <a:srgbClr val="1E1E1E"/>
                    </a:solidFill>
                    <a:latin typeface="Lilita One"/>
                  </a:rPr>
                  <a:t>QUESTION 3</a:t>
                </a:r>
              </a:p>
            </p:txBody>
          </p:sp>
          <p:sp>
            <p:nvSpPr>
              <p:cNvPr id="45" name="TextBox 45"/>
              <p:cNvSpPr txBox="1"/>
              <p:nvPr/>
            </p:nvSpPr>
            <p:spPr>
              <a:xfrm>
                <a:off x="741429" y="5902347"/>
                <a:ext cx="6076584" cy="167481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400"/>
                  </a:lnSpc>
                </a:pPr>
                <a:r>
                  <a:rPr lang="en-US" sz="1000" dirty="0">
                    <a:solidFill>
                      <a:srgbClr val="1E1E1E"/>
                    </a:solidFill>
                    <a:latin typeface="Cabin"/>
                  </a:rPr>
                  <a:t>Translate the following English sentence into Spanish: [Provide an English sentence related to the lesson]</a:t>
                </a:r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957A9173-F7DB-444F-941D-1BBBB630C728}"/>
                </a:ext>
              </a:extLst>
            </p:cNvPr>
            <p:cNvGrpSpPr/>
            <p:nvPr/>
          </p:nvGrpSpPr>
          <p:grpSpPr>
            <a:xfrm>
              <a:off x="3784893" y="2370443"/>
              <a:ext cx="3301080" cy="1040900"/>
              <a:chOff x="3784893" y="2370443"/>
              <a:chExt cx="3301080" cy="1040900"/>
            </a:xfrm>
          </p:grpSpPr>
          <p:sp>
            <p:nvSpPr>
              <p:cNvPr id="40" name="Freeform 40"/>
              <p:cNvSpPr/>
              <p:nvPr/>
            </p:nvSpPr>
            <p:spPr>
              <a:xfrm>
                <a:off x="3784893" y="2370443"/>
                <a:ext cx="3301080" cy="499774"/>
              </a:xfrm>
              <a:custGeom>
                <a:avLst/>
                <a:gdLst/>
                <a:ahLst/>
                <a:cxnLst/>
                <a:rect l="l" t="t" r="r" b="b"/>
                <a:pathLst>
                  <a:path w="1183033" h="179108">
                    <a:moveTo>
                      <a:pt x="0" y="0"/>
                    </a:moveTo>
                    <a:lnTo>
                      <a:pt x="1183033" y="0"/>
                    </a:lnTo>
                    <a:lnTo>
                      <a:pt x="1183033" y="179108"/>
                    </a:lnTo>
                    <a:lnTo>
                      <a:pt x="0" y="179108"/>
                    </a:lnTo>
                    <a:close/>
                  </a:path>
                </a:pathLst>
              </a:custGeom>
              <a:solidFill>
                <a:srgbClr val="FFF8DA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3" name="TextBox 43"/>
              <p:cNvSpPr txBox="1"/>
              <p:nvPr/>
            </p:nvSpPr>
            <p:spPr>
              <a:xfrm>
                <a:off x="4043479" y="2488171"/>
                <a:ext cx="2783908" cy="2643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u="none" strike="noStrike" dirty="0">
                    <a:solidFill>
                      <a:srgbClr val="1E1E1E"/>
                    </a:solidFill>
                    <a:latin typeface="Lilita One"/>
                  </a:rPr>
                  <a:t>QUESTION 2</a:t>
                </a:r>
              </a:p>
            </p:txBody>
          </p:sp>
          <p:sp>
            <p:nvSpPr>
              <p:cNvPr id="47" name="TextBox 47"/>
              <p:cNvSpPr txBox="1"/>
              <p:nvPr/>
            </p:nvSpPr>
            <p:spPr>
              <a:xfrm>
                <a:off x="4043479" y="3065479"/>
                <a:ext cx="2783908" cy="34586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399"/>
                  </a:lnSpc>
                </a:pPr>
                <a:r>
                  <a:rPr lang="en-US" sz="999" dirty="0">
                    <a:solidFill>
                      <a:srgbClr val="1E1E1E"/>
                    </a:solidFill>
                    <a:latin typeface="Cabin"/>
                  </a:rPr>
                  <a:t>Form a complete sentence in Spanish using one </a:t>
                </a:r>
              </a:p>
              <a:p>
                <a:pPr algn="ctr">
                  <a:lnSpc>
                    <a:spcPts val="1399"/>
                  </a:lnSpc>
                </a:pPr>
                <a:r>
                  <a:rPr lang="en-US" sz="999" dirty="0">
                    <a:solidFill>
                      <a:srgbClr val="1E1E1E"/>
                    </a:solidFill>
                    <a:latin typeface="Cabin"/>
                  </a:rPr>
                  <a:t>of the new vocabulary words you learned today</a:t>
                </a: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7B6FB3B8-7C91-F469-C007-2E15337EA855}"/>
                </a:ext>
              </a:extLst>
            </p:cNvPr>
            <p:cNvGrpSpPr/>
            <p:nvPr/>
          </p:nvGrpSpPr>
          <p:grpSpPr>
            <a:xfrm>
              <a:off x="473470" y="2370443"/>
              <a:ext cx="3292373" cy="1026823"/>
              <a:chOff x="473470" y="2370443"/>
              <a:chExt cx="3292373" cy="1026823"/>
            </a:xfrm>
          </p:grpSpPr>
          <p:sp>
            <p:nvSpPr>
              <p:cNvPr id="34" name="Freeform 34"/>
              <p:cNvSpPr/>
              <p:nvPr/>
            </p:nvSpPr>
            <p:spPr>
              <a:xfrm>
                <a:off x="473470" y="2370443"/>
                <a:ext cx="3292373" cy="499774"/>
              </a:xfrm>
              <a:custGeom>
                <a:avLst/>
                <a:gdLst/>
                <a:ahLst/>
                <a:cxnLst/>
                <a:rect l="l" t="t" r="r" b="b"/>
                <a:pathLst>
                  <a:path w="1179912" h="179108">
                    <a:moveTo>
                      <a:pt x="0" y="0"/>
                    </a:moveTo>
                    <a:lnTo>
                      <a:pt x="1179912" y="0"/>
                    </a:lnTo>
                    <a:lnTo>
                      <a:pt x="1179912" y="179108"/>
                    </a:lnTo>
                    <a:lnTo>
                      <a:pt x="0" y="179108"/>
                    </a:lnTo>
                    <a:close/>
                  </a:path>
                </a:pathLst>
              </a:custGeom>
              <a:solidFill>
                <a:srgbClr val="FFF8DA"/>
              </a:solidFill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42" name="TextBox 42"/>
              <p:cNvSpPr txBox="1"/>
              <p:nvPr/>
            </p:nvSpPr>
            <p:spPr>
              <a:xfrm>
                <a:off x="727702" y="2488171"/>
                <a:ext cx="2783908" cy="264319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2100"/>
                  </a:lnSpc>
                  <a:spcBef>
                    <a:spcPct val="0"/>
                  </a:spcBef>
                </a:pPr>
                <a:r>
                  <a:rPr lang="en-US" sz="1500" dirty="0">
                    <a:solidFill>
                      <a:srgbClr val="1E1E1E"/>
                    </a:solidFill>
                    <a:latin typeface="Lilita One"/>
                  </a:rPr>
                  <a:t>QUESTION 1</a:t>
                </a:r>
              </a:p>
            </p:txBody>
          </p:sp>
          <p:sp>
            <p:nvSpPr>
              <p:cNvPr id="46" name="TextBox 46"/>
              <p:cNvSpPr txBox="1"/>
              <p:nvPr/>
            </p:nvSpPr>
            <p:spPr>
              <a:xfrm>
                <a:off x="727702" y="3065479"/>
                <a:ext cx="2783908" cy="331787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algn="ctr">
                  <a:lnSpc>
                    <a:spcPts val="1399"/>
                  </a:lnSpc>
                </a:pPr>
                <a:r>
                  <a:rPr lang="en-US" sz="999" dirty="0">
                    <a:solidFill>
                      <a:srgbClr val="1E1E1E"/>
                    </a:solidFill>
                    <a:latin typeface="Cabin"/>
                  </a:rPr>
                  <a:t>Write down three new Spanish vocabulary words you learned today and their English translations</a:t>
                </a:r>
              </a:p>
            </p:txBody>
          </p:sp>
        </p:grpSp>
        <p:sp>
          <p:nvSpPr>
            <p:cNvPr id="26" name="TextBox 26"/>
            <p:cNvSpPr txBox="1"/>
            <p:nvPr/>
          </p:nvSpPr>
          <p:spPr>
            <a:xfrm>
              <a:off x="-195401" y="901227"/>
              <a:ext cx="7950802" cy="1205458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656"/>
                </a:lnSpc>
              </a:pPr>
              <a:r>
                <a:rPr lang="en-US" sz="4250" spc="84" dirty="0">
                  <a:solidFill>
                    <a:srgbClr val="1E1E1E"/>
                  </a:solidFill>
                  <a:latin typeface="Lilita One"/>
                </a:rPr>
                <a:t>SPANISH EXIT </a:t>
              </a:r>
            </a:p>
            <a:p>
              <a:pPr algn="ctr">
                <a:lnSpc>
                  <a:spcPts val="4656"/>
                </a:lnSpc>
              </a:pPr>
              <a:r>
                <a:rPr lang="en-US" sz="4250" spc="84" dirty="0">
                  <a:solidFill>
                    <a:srgbClr val="1E1E1E"/>
                  </a:solidFill>
                  <a:latin typeface="Lilita One"/>
                </a:rPr>
                <a:t>TICKET TEMPLATE</a:t>
              </a:r>
            </a:p>
          </p:txBody>
        </p:sp>
        <p:sp>
          <p:nvSpPr>
            <p:cNvPr id="13" name="TemplateLAB"/>
            <p:cNvSpPr/>
            <p:nvPr/>
          </p:nvSpPr>
          <p:spPr>
            <a:xfrm>
              <a:off x="3285790" y="10227317"/>
              <a:ext cx="988421" cy="163089"/>
            </a:xfrm>
            <a:custGeom>
              <a:avLst/>
              <a:gdLst/>
              <a:ahLst/>
              <a:cxnLst/>
              <a:rect l="l" t="t" r="r" b="b"/>
              <a:pathLst>
                <a:path w="988421" h="163089">
                  <a:moveTo>
                    <a:pt x="0" y="0"/>
                  </a:moveTo>
                  <a:lnTo>
                    <a:pt x="988420" y="0"/>
                  </a:lnTo>
                  <a:lnTo>
                    <a:pt x="988420" y="163089"/>
                  </a:lnTo>
                  <a:lnTo>
                    <a:pt x="0" y="163089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9">
                <a:extLst>
                  <a:ext uri="{96DAC541-7B7A-43D3-8B79-37D633B846F1}">
                    <asvg:svgBlip xmlns:asvg="http://schemas.microsoft.com/office/drawing/2016/SVG/main" r:embed="rId20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5</TotalTime>
  <Words>101</Words>
  <Application>Microsoft Office PowerPoint</Application>
  <PresentationFormat>Custom</PresentationFormat>
  <Paragraphs>17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Lilita One</vt:lpstr>
      <vt:lpstr>Cabin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it Ticket (Portrait)</dc:title>
  <dc:creator>Hoang Anh</dc:creator>
  <cp:lastModifiedBy>Hoang Anh</cp:lastModifiedBy>
  <cp:revision>13</cp:revision>
  <dcterms:created xsi:type="dcterms:W3CDTF">2006-08-16T00:00:00Z</dcterms:created>
  <dcterms:modified xsi:type="dcterms:W3CDTF">2023-09-29T08:52:45Z</dcterms:modified>
  <dc:identifier>DAFvahlxRyY</dc:identifier>
</cp:coreProperties>
</file>